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95" r:id="rId2"/>
  </p:sldMasterIdLst>
  <p:notesMasterIdLst>
    <p:notesMasterId r:id="rId10"/>
  </p:notesMasterIdLst>
  <p:handoutMasterIdLst>
    <p:handoutMasterId r:id="rId11"/>
  </p:handoutMasterIdLst>
  <p:sldIdLst>
    <p:sldId id="2147379639" r:id="rId3"/>
    <p:sldId id="2147379626" r:id="rId4"/>
    <p:sldId id="2147379643" r:id="rId5"/>
    <p:sldId id="2147379627" r:id="rId6"/>
    <p:sldId id="2147379628" r:id="rId7"/>
    <p:sldId id="2147379644" r:id="rId8"/>
    <p:sldId id="2147379629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елякова Юлия Александровна (ДМК)" initials="БЮА(" lastIdx="1" clrIdx="0">
    <p:extLst>
      <p:ext uri="{19B8F6BF-5375-455C-9EA6-DF929625EA0E}">
        <p15:presenceInfo xmlns:p15="http://schemas.microsoft.com/office/powerpoint/2012/main" userId="S-1-5-21-2031528965-2573222382-2246632801-376310" providerId="AD"/>
      </p:ext>
    </p:extLst>
  </p:cmAuthor>
  <p:cmAuthor id="2" name="Баско Ольга Дмитриевна (ДМК)" initials="БОД(" lastIdx="8" clrIdx="1">
    <p:extLst>
      <p:ext uri="{19B8F6BF-5375-455C-9EA6-DF929625EA0E}">
        <p15:presenceInfo xmlns:p15="http://schemas.microsoft.com/office/powerpoint/2012/main" userId="S-1-5-21-2031528965-2573222382-2246632801-4118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575615-0489-410C-95B3-23372F59B4F2}" v="14" dt="2024-04-19T19:29:14.3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21" autoAdjust="0"/>
    <p:restoredTop sz="94660"/>
  </p:normalViewPr>
  <p:slideViewPr>
    <p:cSldViewPr snapToGrid="0">
      <p:cViewPr>
        <p:scale>
          <a:sx n="50" d="100"/>
          <a:sy n="50" d="100"/>
        </p:scale>
        <p:origin x="1164" y="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khalov Alexander" userId="31539e3dd828c94a" providerId="LiveId" clId="{3D575615-0489-410C-95B3-23372F59B4F2}"/>
    <pc:docChg chg="undo custSel addSld delSld modSld delMainMaster">
      <pc:chgData name="Pakhalov Alexander" userId="31539e3dd828c94a" providerId="LiveId" clId="{3D575615-0489-410C-95B3-23372F59B4F2}" dt="2024-04-19T19:30:56.261" v="289" actId="2711"/>
      <pc:docMkLst>
        <pc:docMk/>
      </pc:docMkLst>
      <pc:sldChg chg="del">
        <pc:chgData name="Pakhalov Alexander" userId="31539e3dd828c94a" providerId="LiveId" clId="{3D575615-0489-410C-95B3-23372F59B4F2}" dt="2024-04-19T19:24:49.720" v="153" actId="47"/>
        <pc:sldMkLst>
          <pc:docMk/>
          <pc:sldMk cId="2508044741" sldId="405"/>
        </pc:sldMkLst>
      </pc:sldChg>
      <pc:sldChg chg="del">
        <pc:chgData name="Pakhalov Alexander" userId="31539e3dd828c94a" providerId="LiveId" clId="{3D575615-0489-410C-95B3-23372F59B4F2}" dt="2024-04-19T19:24:51.032" v="154" actId="47"/>
        <pc:sldMkLst>
          <pc:docMk/>
          <pc:sldMk cId="3508196658" sldId="431"/>
        </pc:sldMkLst>
      </pc:sldChg>
      <pc:sldChg chg="del">
        <pc:chgData name="Pakhalov Alexander" userId="31539e3dd828c94a" providerId="LiveId" clId="{3D575615-0489-410C-95B3-23372F59B4F2}" dt="2024-04-19T19:24:51.672" v="155" actId="47"/>
        <pc:sldMkLst>
          <pc:docMk/>
          <pc:sldMk cId="3764744433" sldId="435"/>
        </pc:sldMkLst>
      </pc:sldChg>
      <pc:sldChg chg="del">
        <pc:chgData name="Pakhalov Alexander" userId="31539e3dd828c94a" providerId="LiveId" clId="{3D575615-0489-410C-95B3-23372F59B4F2}" dt="2024-04-19T19:24:46.129" v="151" actId="47"/>
        <pc:sldMkLst>
          <pc:docMk/>
          <pc:sldMk cId="782629542" sldId="1265"/>
        </pc:sldMkLst>
      </pc:sldChg>
      <pc:sldChg chg="del">
        <pc:chgData name="Pakhalov Alexander" userId="31539e3dd828c94a" providerId="LiveId" clId="{3D575615-0489-410C-95B3-23372F59B4F2}" dt="2024-04-19T19:25:03.823" v="159" actId="47"/>
        <pc:sldMkLst>
          <pc:docMk/>
          <pc:sldMk cId="1247116222" sldId="2147379622"/>
        </pc:sldMkLst>
      </pc:sldChg>
      <pc:sldChg chg="del">
        <pc:chgData name="Pakhalov Alexander" userId="31539e3dd828c94a" providerId="LiveId" clId="{3D575615-0489-410C-95B3-23372F59B4F2}" dt="2024-04-19T19:25:04.120" v="160" actId="47"/>
        <pc:sldMkLst>
          <pc:docMk/>
          <pc:sldMk cId="2265414291" sldId="2147379623"/>
        </pc:sldMkLst>
      </pc:sldChg>
      <pc:sldChg chg="add del">
        <pc:chgData name="Pakhalov Alexander" userId="31539e3dd828c94a" providerId="LiveId" clId="{3D575615-0489-410C-95B3-23372F59B4F2}" dt="2024-04-19T19:24:56.903" v="158" actId="47"/>
        <pc:sldMkLst>
          <pc:docMk/>
          <pc:sldMk cId="2720297777" sldId="2147379625"/>
        </pc:sldMkLst>
      </pc:sldChg>
      <pc:sldChg chg="addSp modSp mod">
        <pc:chgData name="Pakhalov Alexander" userId="31539e3dd828c94a" providerId="LiveId" clId="{3D575615-0489-410C-95B3-23372F59B4F2}" dt="2024-04-19T19:29:37.359" v="283" actId="2711"/>
        <pc:sldMkLst>
          <pc:docMk/>
          <pc:sldMk cId="911136872" sldId="2147379626"/>
        </pc:sldMkLst>
        <pc:spChg chg="mod">
          <ac:chgData name="Pakhalov Alexander" userId="31539e3dd828c94a" providerId="LiveId" clId="{3D575615-0489-410C-95B3-23372F59B4F2}" dt="2024-04-19T19:29:37.359" v="283" actId="2711"/>
          <ac:spMkLst>
            <pc:docMk/>
            <pc:sldMk cId="911136872" sldId="2147379626"/>
            <ac:spMk id="2" creationId="{9690C43B-E69E-4819-8BD6-5C4FAF5CB960}"/>
          </ac:spMkLst>
        </pc:spChg>
        <pc:spChg chg="add mod">
          <ac:chgData name="Pakhalov Alexander" userId="31539e3dd828c94a" providerId="LiveId" clId="{3D575615-0489-410C-95B3-23372F59B4F2}" dt="2024-04-19T19:28:33.796" v="267" actId="404"/>
          <ac:spMkLst>
            <pc:docMk/>
            <pc:sldMk cId="911136872" sldId="2147379626"/>
            <ac:spMk id="3" creationId="{C349C3B0-DBBA-6866-3A94-3D6BFCFA3039}"/>
          </ac:spMkLst>
        </pc:spChg>
      </pc:sldChg>
      <pc:sldChg chg="addSp modSp mod">
        <pc:chgData name="Pakhalov Alexander" userId="31539e3dd828c94a" providerId="LiveId" clId="{3D575615-0489-410C-95B3-23372F59B4F2}" dt="2024-04-19T19:30:05.851" v="285" actId="2711"/>
        <pc:sldMkLst>
          <pc:docMk/>
          <pc:sldMk cId="3661307028" sldId="2147379627"/>
        </pc:sldMkLst>
        <pc:spChg chg="mod">
          <ac:chgData name="Pakhalov Alexander" userId="31539e3dd828c94a" providerId="LiveId" clId="{3D575615-0489-410C-95B3-23372F59B4F2}" dt="2024-04-19T19:30:05.851" v="285" actId="2711"/>
          <ac:spMkLst>
            <pc:docMk/>
            <pc:sldMk cId="3661307028" sldId="2147379627"/>
            <ac:spMk id="2" creationId="{9690C43B-E69E-4819-8BD6-5C4FAF5CB960}"/>
          </ac:spMkLst>
        </pc:spChg>
        <pc:spChg chg="add mod">
          <ac:chgData name="Pakhalov Alexander" userId="31539e3dd828c94a" providerId="LiveId" clId="{3D575615-0489-410C-95B3-23372F59B4F2}" dt="2024-04-19T19:28:49.756" v="273" actId="20577"/>
          <ac:spMkLst>
            <pc:docMk/>
            <pc:sldMk cId="3661307028" sldId="2147379627"/>
            <ac:spMk id="3" creationId="{43C25B41-D7C7-EF03-A5E4-E3E7689B4456}"/>
          </ac:spMkLst>
        </pc:spChg>
      </pc:sldChg>
      <pc:sldChg chg="addSp modSp mod">
        <pc:chgData name="Pakhalov Alexander" userId="31539e3dd828c94a" providerId="LiveId" clId="{3D575615-0489-410C-95B3-23372F59B4F2}" dt="2024-04-19T19:30:19.986" v="286" actId="2711"/>
        <pc:sldMkLst>
          <pc:docMk/>
          <pc:sldMk cId="3900832609" sldId="2147379628"/>
        </pc:sldMkLst>
        <pc:spChg chg="mod">
          <ac:chgData name="Pakhalov Alexander" userId="31539e3dd828c94a" providerId="LiveId" clId="{3D575615-0489-410C-95B3-23372F59B4F2}" dt="2024-04-19T19:30:19.986" v="286" actId="2711"/>
          <ac:spMkLst>
            <pc:docMk/>
            <pc:sldMk cId="3900832609" sldId="2147379628"/>
            <ac:spMk id="2" creationId="{9690C43B-E69E-4819-8BD6-5C4FAF5CB960}"/>
          </ac:spMkLst>
        </pc:spChg>
        <pc:spChg chg="add mod">
          <ac:chgData name="Pakhalov Alexander" userId="31539e3dd828c94a" providerId="LiveId" clId="{3D575615-0489-410C-95B3-23372F59B4F2}" dt="2024-04-19T19:29:04.106" v="276" actId="20577"/>
          <ac:spMkLst>
            <pc:docMk/>
            <pc:sldMk cId="3900832609" sldId="2147379628"/>
            <ac:spMk id="3" creationId="{6FA3E008-AD01-7241-F340-B6D1136E810F}"/>
          </ac:spMkLst>
        </pc:spChg>
      </pc:sldChg>
      <pc:sldChg chg="addSp modSp add del mod">
        <pc:chgData name="Pakhalov Alexander" userId="31539e3dd828c94a" providerId="LiveId" clId="{3D575615-0489-410C-95B3-23372F59B4F2}" dt="2024-04-19T19:30:56.261" v="289" actId="2711"/>
        <pc:sldMkLst>
          <pc:docMk/>
          <pc:sldMk cId="423006972" sldId="2147379629"/>
        </pc:sldMkLst>
        <pc:spChg chg="mod">
          <ac:chgData name="Pakhalov Alexander" userId="31539e3dd828c94a" providerId="LiveId" clId="{3D575615-0489-410C-95B3-23372F59B4F2}" dt="2024-04-19T19:30:49.323" v="288" actId="2711"/>
          <ac:spMkLst>
            <pc:docMk/>
            <pc:sldMk cId="423006972" sldId="2147379629"/>
            <ac:spMk id="2" creationId="{9690C43B-E69E-4819-8BD6-5C4FAF5CB960}"/>
          </ac:spMkLst>
        </pc:spChg>
        <pc:spChg chg="add mod">
          <ac:chgData name="Pakhalov Alexander" userId="31539e3dd828c94a" providerId="LiveId" clId="{3D575615-0489-410C-95B3-23372F59B4F2}" dt="2024-04-19T19:29:17.680" v="282" actId="20577"/>
          <ac:spMkLst>
            <pc:docMk/>
            <pc:sldMk cId="423006972" sldId="2147379629"/>
            <ac:spMk id="3" creationId="{8055722B-F527-E0E1-CA1D-03A646142F2D}"/>
          </ac:spMkLst>
        </pc:spChg>
        <pc:spChg chg="mod">
          <ac:chgData name="Pakhalov Alexander" userId="31539e3dd828c94a" providerId="LiveId" clId="{3D575615-0489-410C-95B3-23372F59B4F2}" dt="2024-04-19T19:30:56.261" v="289" actId="2711"/>
          <ac:spMkLst>
            <pc:docMk/>
            <pc:sldMk cId="423006972" sldId="2147379629"/>
            <ac:spMk id="7" creationId="{E6527CE1-5E57-4A1B-8910-44231FF0CC8E}"/>
          </ac:spMkLst>
        </pc:spChg>
        <pc:spChg chg="mod">
          <ac:chgData name="Pakhalov Alexander" userId="31539e3dd828c94a" providerId="LiveId" clId="{3D575615-0489-410C-95B3-23372F59B4F2}" dt="2024-04-19T19:30:56.261" v="289" actId="2711"/>
          <ac:spMkLst>
            <pc:docMk/>
            <pc:sldMk cId="423006972" sldId="2147379629"/>
            <ac:spMk id="8" creationId="{65CF6703-7DB1-4A27-B9CA-B2E4F3A4EBFA}"/>
          </ac:spMkLst>
        </pc:spChg>
        <pc:spChg chg="mod">
          <ac:chgData name="Pakhalov Alexander" userId="31539e3dd828c94a" providerId="LiveId" clId="{3D575615-0489-410C-95B3-23372F59B4F2}" dt="2024-04-19T19:30:56.261" v="289" actId="2711"/>
          <ac:spMkLst>
            <pc:docMk/>
            <pc:sldMk cId="423006972" sldId="2147379629"/>
            <ac:spMk id="9" creationId="{E62CB3E5-DB56-46CB-AF3D-2487499C65E4}"/>
          </ac:spMkLst>
        </pc:spChg>
        <pc:spChg chg="mod">
          <ac:chgData name="Pakhalov Alexander" userId="31539e3dd828c94a" providerId="LiveId" clId="{3D575615-0489-410C-95B3-23372F59B4F2}" dt="2024-04-19T19:30:56.261" v="289" actId="2711"/>
          <ac:spMkLst>
            <pc:docMk/>
            <pc:sldMk cId="423006972" sldId="2147379629"/>
            <ac:spMk id="10" creationId="{1BA67856-FF44-49A2-AD76-B2B333AFD8FF}"/>
          </ac:spMkLst>
        </pc:spChg>
        <pc:spChg chg="mod">
          <ac:chgData name="Pakhalov Alexander" userId="31539e3dd828c94a" providerId="LiveId" clId="{3D575615-0489-410C-95B3-23372F59B4F2}" dt="2024-04-19T19:30:56.261" v="289" actId="2711"/>
          <ac:spMkLst>
            <pc:docMk/>
            <pc:sldMk cId="423006972" sldId="2147379629"/>
            <ac:spMk id="11" creationId="{002EE0D9-BE26-4A7B-9C2A-94EF01B0BAB5}"/>
          </ac:spMkLst>
        </pc:spChg>
        <pc:spChg chg="mod">
          <ac:chgData name="Pakhalov Alexander" userId="31539e3dd828c94a" providerId="LiveId" clId="{3D575615-0489-410C-95B3-23372F59B4F2}" dt="2024-04-19T19:30:56.261" v="289" actId="2711"/>
          <ac:spMkLst>
            <pc:docMk/>
            <pc:sldMk cId="423006972" sldId="2147379629"/>
            <ac:spMk id="12" creationId="{31903D37-8126-4D0D-BE70-B26F4AA1FCF8}"/>
          </ac:spMkLst>
        </pc:spChg>
      </pc:sldChg>
      <pc:sldChg chg="del">
        <pc:chgData name="Pakhalov Alexander" userId="31539e3dd828c94a" providerId="LiveId" clId="{3D575615-0489-410C-95B3-23372F59B4F2}" dt="2024-04-19T19:24:53.031" v="157" actId="47"/>
        <pc:sldMkLst>
          <pc:docMk/>
          <pc:sldMk cId="422910721" sldId="2147379631"/>
        </pc:sldMkLst>
      </pc:sldChg>
      <pc:sldChg chg="del">
        <pc:chgData name="Pakhalov Alexander" userId="31539e3dd828c94a" providerId="LiveId" clId="{3D575615-0489-410C-95B3-23372F59B4F2}" dt="2024-04-19T19:24:48.939" v="152" actId="47"/>
        <pc:sldMkLst>
          <pc:docMk/>
          <pc:sldMk cId="22345853" sldId="2147379638"/>
        </pc:sldMkLst>
      </pc:sldChg>
      <pc:sldChg chg="modSp add del mod">
        <pc:chgData name="Pakhalov Alexander" userId="31539e3dd828c94a" providerId="LiveId" clId="{3D575615-0489-410C-95B3-23372F59B4F2}" dt="2024-04-19T19:24:42.242" v="150" actId="47"/>
        <pc:sldMkLst>
          <pc:docMk/>
          <pc:sldMk cId="1716453509" sldId="2147379639"/>
        </pc:sldMkLst>
        <pc:spChg chg="mod">
          <ac:chgData name="Pakhalov Alexander" userId="31539e3dd828c94a" providerId="LiveId" clId="{3D575615-0489-410C-95B3-23372F59B4F2}" dt="2024-04-19T19:24:24.724" v="146" actId="404"/>
          <ac:spMkLst>
            <pc:docMk/>
            <pc:sldMk cId="1716453509" sldId="2147379639"/>
            <ac:spMk id="10" creationId="{00000000-0000-0000-0000-000000000000}"/>
          </ac:spMkLst>
        </pc:spChg>
      </pc:sldChg>
      <pc:sldChg chg="del">
        <pc:chgData name="Pakhalov Alexander" userId="31539e3dd828c94a" providerId="LiveId" clId="{3D575615-0489-410C-95B3-23372F59B4F2}" dt="2024-04-19T19:24:52.203" v="156" actId="47"/>
        <pc:sldMkLst>
          <pc:docMk/>
          <pc:sldMk cId="417090707" sldId="2147379642"/>
        </pc:sldMkLst>
      </pc:sldChg>
      <pc:sldChg chg="addSp modSp mod">
        <pc:chgData name="Pakhalov Alexander" userId="31539e3dd828c94a" providerId="LiveId" clId="{3D575615-0489-410C-95B3-23372F59B4F2}" dt="2024-04-19T19:29:52.699" v="284" actId="2711"/>
        <pc:sldMkLst>
          <pc:docMk/>
          <pc:sldMk cId="1630864368" sldId="2147379643"/>
        </pc:sldMkLst>
        <pc:spChg chg="mod">
          <ac:chgData name="Pakhalov Alexander" userId="31539e3dd828c94a" providerId="LiveId" clId="{3D575615-0489-410C-95B3-23372F59B4F2}" dt="2024-04-19T19:29:52.699" v="284" actId="2711"/>
          <ac:spMkLst>
            <pc:docMk/>
            <pc:sldMk cId="1630864368" sldId="2147379643"/>
            <ac:spMk id="2" creationId="{9690C43B-E69E-4819-8BD6-5C4FAF5CB960}"/>
          </ac:spMkLst>
        </pc:spChg>
        <pc:spChg chg="add mod">
          <ac:chgData name="Pakhalov Alexander" userId="31539e3dd828c94a" providerId="LiveId" clId="{3D575615-0489-410C-95B3-23372F59B4F2}" dt="2024-04-19T19:28:42.650" v="270" actId="20577"/>
          <ac:spMkLst>
            <pc:docMk/>
            <pc:sldMk cId="1630864368" sldId="2147379643"/>
            <ac:spMk id="3" creationId="{71A3899E-8FA8-C88A-D360-5C0A1F45F393}"/>
          </ac:spMkLst>
        </pc:spChg>
      </pc:sldChg>
      <pc:sldChg chg="addSp modSp mod">
        <pc:chgData name="Pakhalov Alexander" userId="31539e3dd828c94a" providerId="LiveId" clId="{3D575615-0489-410C-95B3-23372F59B4F2}" dt="2024-04-19T19:30:35.790" v="287" actId="2711"/>
        <pc:sldMkLst>
          <pc:docMk/>
          <pc:sldMk cId="4112707346" sldId="2147379644"/>
        </pc:sldMkLst>
        <pc:spChg chg="mod">
          <ac:chgData name="Pakhalov Alexander" userId="31539e3dd828c94a" providerId="LiveId" clId="{3D575615-0489-410C-95B3-23372F59B4F2}" dt="2024-04-19T19:30:35.790" v="287" actId="2711"/>
          <ac:spMkLst>
            <pc:docMk/>
            <pc:sldMk cId="4112707346" sldId="2147379644"/>
            <ac:spMk id="2" creationId="{9690C43B-E69E-4819-8BD6-5C4FAF5CB960}"/>
          </ac:spMkLst>
        </pc:spChg>
        <pc:spChg chg="add mod">
          <ac:chgData name="Pakhalov Alexander" userId="31539e3dd828c94a" providerId="LiveId" clId="{3D575615-0489-410C-95B3-23372F59B4F2}" dt="2024-04-19T19:29:11.479" v="279" actId="20577"/>
          <ac:spMkLst>
            <pc:docMk/>
            <pc:sldMk cId="4112707346" sldId="2147379644"/>
            <ac:spMk id="3" creationId="{9DB63154-3594-CCEC-0179-1DDBE6868115}"/>
          </ac:spMkLst>
        </pc:spChg>
      </pc:sldChg>
      <pc:sldChg chg="del">
        <pc:chgData name="Pakhalov Alexander" userId="31539e3dd828c94a" providerId="LiveId" clId="{3D575615-0489-410C-95B3-23372F59B4F2}" dt="2024-04-19T19:25:04.260" v="161" actId="47"/>
        <pc:sldMkLst>
          <pc:docMk/>
          <pc:sldMk cId="1907864672" sldId="2147379645"/>
        </pc:sldMkLst>
      </pc:sldChg>
      <pc:sldMasterChg chg="del delSldLayout">
        <pc:chgData name="Pakhalov Alexander" userId="31539e3dd828c94a" providerId="LiveId" clId="{3D575615-0489-410C-95B3-23372F59B4F2}" dt="2024-04-19T19:24:51.672" v="155" actId="47"/>
        <pc:sldMasterMkLst>
          <pc:docMk/>
          <pc:sldMasterMk cId="293470078" sldId="2147483810"/>
        </pc:sldMasterMkLst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3234222795" sldId="2147483811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3093156318" sldId="2147483812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1085630702" sldId="2147483813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3770807580" sldId="2147483814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3502726595" sldId="2147483815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577066130" sldId="2147483816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3330674356" sldId="2147483817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1720737664" sldId="2147483818"/>
          </pc:sldLayoutMkLst>
        </pc:sldLayoutChg>
        <pc:sldLayoutChg chg="del">
          <pc:chgData name="Pakhalov Alexander" userId="31539e3dd828c94a" providerId="LiveId" clId="{3D575615-0489-410C-95B3-23372F59B4F2}" dt="2024-04-19T19:24:51.672" v="155" actId="47"/>
          <pc:sldLayoutMkLst>
            <pc:docMk/>
            <pc:sldMasterMk cId="293470078" sldId="2147483810"/>
            <pc:sldLayoutMk cId="1927048864" sldId="214748381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A979C0B-8539-82D7-504C-4D5B7D5922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DF9734-2A33-5FF9-693C-328D363119D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27251A-1894-45C3-83B2-E7413020C7A1}" type="datetimeFigureOut">
              <a:rPr lang="en-US" smtClean="0"/>
              <a:t>4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4E62E9-C022-35DD-21F5-B7B0EA5C8D9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FE6035-5910-E69A-9860-FF824880B4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BF40DE-5566-46B0-B85B-78C9263DB0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035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B0C2F8-CA4E-42D3-82D7-CF957D41DF97}" type="datetimeFigureOut">
              <a:rPr lang="ru-RU" smtClean="0"/>
              <a:t>19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F084E1-75F7-4480-B600-FB1C239F5B3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767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54" name="Title Text"/>
          <p:cNvSpPr txBox="1">
            <a:spLocks noGrp="1"/>
          </p:cNvSpPr>
          <p:nvPr>
            <p:ph type="title"/>
          </p:nvPr>
        </p:nvSpPr>
        <p:spPr>
          <a:xfrm>
            <a:off x="4258871" y="0"/>
            <a:ext cx="7501971" cy="172509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55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258871" y="2302699"/>
            <a:ext cx="7501971" cy="3645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13855" y="6084501"/>
            <a:ext cx="335867" cy="333089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48641292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>
            <a:extLst>
              <a:ext uri="{FF2B5EF4-FFF2-40B4-BE49-F238E27FC236}">
                <a16:creationId xmlns:a16="http://schemas.microsoft.com/office/drawing/2014/main" id="{554BA19E-937D-BE4B-B2A4-0E148C3E8305}"/>
              </a:ext>
            </a:extLst>
          </p:cNvPr>
          <p:cNvSpPr/>
          <p:nvPr userDrawn="1"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k object 17">
            <a:extLst>
              <a:ext uri="{FF2B5EF4-FFF2-40B4-BE49-F238E27FC236}">
                <a16:creationId xmlns:a16="http://schemas.microsoft.com/office/drawing/2014/main" id="{D2A7142B-C4F9-7046-9BD0-D8BC1F6AD118}"/>
              </a:ext>
            </a:extLst>
          </p:cNvPr>
          <p:cNvSpPr/>
          <p:nvPr userDrawn="1"/>
        </p:nvSpPr>
        <p:spPr>
          <a:xfrm>
            <a:off x="0" y="4785754"/>
            <a:ext cx="12192000" cy="2068951"/>
          </a:xfrm>
          <a:custGeom>
            <a:avLst/>
            <a:gdLst/>
            <a:ahLst/>
            <a:cxnLst/>
            <a:rect l="l" t="t" r="r" b="b"/>
            <a:pathLst>
              <a:path w="20104100" h="3411854">
                <a:moveTo>
                  <a:pt x="20104099" y="3411236"/>
                </a:moveTo>
                <a:lnTo>
                  <a:pt x="0" y="3411236"/>
                </a:lnTo>
                <a:lnTo>
                  <a:pt x="0" y="0"/>
                </a:lnTo>
                <a:lnTo>
                  <a:pt x="20104099" y="0"/>
                </a:lnTo>
                <a:lnTo>
                  <a:pt x="20104099" y="34112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bk object 18">
            <a:extLst>
              <a:ext uri="{FF2B5EF4-FFF2-40B4-BE49-F238E27FC236}">
                <a16:creationId xmlns:a16="http://schemas.microsoft.com/office/drawing/2014/main" id="{CC8FAA93-9D6B-F94C-9324-0A98AE912564}"/>
              </a:ext>
            </a:extLst>
          </p:cNvPr>
          <p:cNvSpPr/>
          <p:nvPr userDrawn="1"/>
        </p:nvSpPr>
        <p:spPr>
          <a:xfrm>
            <a:off x="410508" y="3752098"/>
            <a:ext cx="11371370" cy="2691986"/>
          </a:xfrm>
          <a:custGeom>
            <a:avLst/>
            <a:gdLst/>
            <a:ahLst/>
            <a:cxnLst/>
            <a:rect l="l" t="t" r="r" b="b"/>
            <a:pathLst>
              <a:path w="18750915" h="4439284">
                <a:moveTo>
                  <a:pt x="18750287" y="0"/>
                </a:moveTo>
                <a:lnTo>
                  <a:pt x="0" y="0"/>
                </a:lnTo>
                <a:lnTo>
                  <a:pt x="0" y="4438901"/>
                </a:lnTo>
                <a:lnTo>
                  <a:pt x="18750287" y="4438901"/>
                </a:lnTo>
                <a:lnTo>
                  <a:pt x="18750287" y="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FD600DF-BCC7-C341-8E23-F2B1C3FC7F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042" y="4287249"/>
            <a:ext cx="2818682" cy="757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772804-5ACB-4641-936C-B20CDBCFE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8609" y="3749284"/>
            <a:ext cx="5380288" cy="143126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97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BDA82-DBC7-E345-8789-AD45848E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8012" y="5323517"/>
            <a:ext cx="5360885" cy="7831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152">
                <a:solidFill>
                  <a:schemeClr val="bg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B4EA7-F6F3-5F43-B36C-CFBC7442D5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8012" y="6110989"/>
            <a:ext cx="1756427" cy="3287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7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4EA363C-673F-4343-BE98-9ED13706366F}" type="datetimeFigureOut">
              <a:rPr lang="ru-RU" smtClean="0"/>
              <a:pPr/>
              <a:t>19.04.20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0194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">
            <a:extLst>
              <a:ext uri="{FF2B5EF4-FFF2-40B4-BE49-F238E27FC236}">
                <a16:creationId xmlns:a16="http://schemas.microsoft.com/office/drawing/2014/main" id="{D25803CE-B5AA-6D4C-955D-262BA31CD41D}"/>
              </a:ext>
            </a:extLst>
          </p:cNvPr>
          <p:cNvSpPr/>
          <p:nvPr userDrawn="1"/>
        </p:nvSpPr>
        <p:spPr>
          <a:xfrm>
            <a:off x="1" y="2062228"/>
            <a:ext cx="12191999" cy="47952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bk object 18">
            <a:extLst>
              <a:ext uri="{FF2B5EF4-FFF2-40B4-BE49-F238E27FC236}">
                <a16:creationId xmlns:a16="http://schemas.microsoft.com/office/drawing/2014/main" id="{CC8FAA93-9D6B-F94C-9324-0A98AE912564}"/>
              </a:ext>
            </a:extLst>
          </p:cNvPr>
          <p:cNvSpPr/>
          <p:nvPr userDrawn="1"/>
        </p:nvSpPr>
        <p:spPr>
          <a:xfrm>
            <a:off x="410508" y="420169"/>
            <a:ext cx="11371370" cy="2691986"/>
          </a:xfrm>
          <a:custGeom>
            <a:avLst/>
            <a:gdLst/>
            <a:ahLst/>
            <a:cxnLst/>
            <a:rect l="l" t="t" r="r" b="b"/>
            <a:pathLst>
              <a:path w="18750915" h="4439284">
                <a:moveTo>
                  <a:pt x="18750287" y="0"/>
                </a:moveTo>
                <a:lnTo>
                  <a:pt x="0" y="0"/>
                </a:lnTo>
                <a:lnTo>
                  <a:pt x="0" y="4438901"/>
                </a:lnTo>
                <a:lnTo>
                  <a:pt x="18750287" y="4438901"/>
                </a:lnTo>
                <a:lnTo>
                  <a:pt x="18750287" y="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FD600DF-BCC7-C341-8E23-F2B1C3FC7F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7042" y="955320"/>
            <a:ext cx="2818682" cy="757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772804-5ACB-4641-936C-B20CDBCFE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8609" y="417355"/>
            <a:ext cx="5380288" cy="143126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97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BDA82-DBC7-E345-8789-AD45848E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88012" y="1991588"/>
            <a:ext cx="5360885" cy="7831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152">
                <a:solidFill>
                  <a:schemeClr val="bg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B4EA7-F6F3-5F43-B36C-CFBC7442D5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88012" y="2779060"/>
            <a:ext cx="1756427" cy="328749"/>
          </a:xfrm>
          <a:prstGeom prst="rect">
            <a:avLst/>
          </a:prstGeom>
        </p:spPr>
        <p:txBody>
          <a:bodyPr lIns="0" tIns="0" rIns="0" bIns="0"/>
          <a:lstStyle>
            <a:lvl1pPr>
              <a:defRPr sz="97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4EA363C-673F-4343-BE98-9ED13706366F}" type="datetimeFigureOut">
              <a:rPr lang="ru-RU" smtClean="0"/>
              <a:pPr/>
              <a:t>19.04.20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2787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">
            <a:extLst>
              <a:ext uri="{FF2B5EF4-FFF2-40B4-BE49-F238E27FC236}">
                <a16:creationId xmlns:a16="http://schemas.microsoft.com/office/drawing/2014/main" id="{77F0DFC4-922C-574E-A2F4-3631C07DA0BC}"/>
              </a:ext>
            </a:extLst>
          </p:cNvPr>
          <p:cNvSpPr/>
          <p:nvPr userDrawn="1"/>
        </p:nvSpPr>
        <p:spPr>
          <a:xfrm>
            <a:off x="0" y="0"/>
            <a:ext cx="8390499" cy="68575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9E7524DD-7FFA-1447-B768-172A0CCCDC2B}"/>
              </a:ext>
            </a:extLst>
          </p:cNvPr>
          <p:cNvSpPr/>
          <p:nvPr userDrawn="1"/>
        </p:nvSpPr>
        <p:spPr>
          <a:xfrm>
            <a:off x="6769239" y="359124"/>
            <a:ext cx="5064339" cy="6136774"/>
          </a:xfrm>
          <a:custGeom>
            <a:avLst/>
            <a:gdLst/>
            <a:ahLst/>
            <a:cxnLst/>
            <a:rect l="l" t="t" r="r" b="b"/>
            <a:pathLst>
              <a:path w="8350884" h="10119995">
                <a:moveTo>
                  <a:pt x="8350667" y="10119953"/>
                </a:moveTo>
                <a:lnTo>
                  <a:pt x="0" y="10119953"/>
                </a:lnTo>
                <a:lnTo>
                  <a:pt x="0" y="0"/>
                </a:lnTo>
                <a:lnTo>
                  <a:pt x="8350667" y="0"/>
                </a:lnTo>
                <a:lnTo>
                  <a:pt x="8350667" y="10119953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8CD0634-C31F-ED49-AC2D-F47D8178D9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26957" y="808576"/>
            <a:ext cx="2480125" cy="6661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772804-5ACB-4641-936C-B20CDBCFE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09867" y="1580690"/>
            <a:ext cx="4339030" cy="3193249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254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CBDA82-DBC7-E345-8789-AD45848E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01334" y="4907585"/>
            <a:ext cx="4347563" cy="78312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152">
                <a:solidFill>
                  <a:schemeClr val="bg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B4EA7-F6F3-5F43-B36C-CFBC7442D5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201334" y="6033503"/>
            <a:ext cx="1756427" cy="328749"/>
          </a:xfrm>
          <a:prstGeom prst="rect">
            <a:avLst/>
          </a:prstGeom>
        </p:spPr>
        <p:txBody>
          <a:bodyPr lIns="0" tIns="0" rIns="0" bIns="0"/>
          <a:lstStyle>
            <a:lvl1pPr>
              <a:defRPr sz="97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4EA363C-673F-4343-BE98-9ED13706366F}" type="datetimeFigureOut">
              <a:rPr lang="ru-RU" smtClean="0"/>
              <a:pPr/>
              <a:t>19.04.20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2284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F295-EDE5-7E47-B7D2-B0B9D6349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8872" y="2302700"/>
            <a:ext cx="7501969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1pPr>
            <a:lvl2pPr marL="277246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2pPr>
            <a:lvl3pPr marL="554492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3pPr>
            <a:lvl4pPr marL="831738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4pPr>
            <a:lvl5pPr marL="1108984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8432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E6BDE76-CCEB-0D44-AB23-21815ACE09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8122" y="2302700"/>
            <a:ext cx="3634881" cy="364568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8E7F1F9-885B-6347-8905-ADC52D55B1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58871" y="2302700"/>
            <a:ext cx="7501969" cy="3645682"/>
          </a:xfrm>
          <a:prstGeom prst="rect">
            <a:avLst/>
          </a:prstGeom>
          <a:solidFill>
            <a:schemeClr val="bg1"/>
          </a:solidFill>
        </p:spPr>
        <p:txBody>
          <a:bodyPr numCol="2" spcCol="360000"/>
          <a:lstStyle>
            <a:lvl1pPr marL="0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1pPr>
            <a:lvl2pPr marL="277246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2pPr>
            <a:lvl3pPr marL="554492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3pPr>
            <a:lvl4pPr marL="831738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4pPr>
            <a:lvl5pPr marL="1108984" indent="0">
              <a:buNone/>
              <a:defRPr>
                <a:solidFill>
                  <a:schemeClr val="tx1">
                    <a:alpha val="7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9373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F295-EDE5-7E47-B7D2-B0B9D6349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8872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E83D3B-DE8D-804B-9BAF-336828AD347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25960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6FD416CD-43C0-3242-BC6C-F81B4054A0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8122" y="2302700"/>
            <a:ext cx="3634881" cy="364568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6114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7F295-EDE5-7E47-B7D2-B0B9D63498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8872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E83D3B-DE8D-804B-9BAF-336828AD347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25960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9457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E83D3B-DE8D-804B-9BAF-336828AD347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25960" y="2302700"/>
            <a:ext cx="3634880" cy="36456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277246" indent="0">
              <a:buNone/>
              <a:defRPr/>
            </a:lvl2pPr>
            <a:lvl3pPr marL="554492" indent="0">
              <a:buNone/>
              <a:defRPr/>
            </a:lvl3pPr>
            <a:lvl4pPr marL="831738" indent="0">
              <a:buNone/>
              <a:defRPr/>
            </a:lvl4pPr>
            <a:lvl5pPr marL="110898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6FD416CD-43C0-3242-BC6C-F81B4054A0B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8122" y="2302700"/>
            <a:ext cx="7465630" cy="3645682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84913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D266B-63D4-CE41-943F-D195099D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8872" y="0"/>
            <a:ext cx="7501969" cy="172508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156C56-5F66-724D-8227-228DFB615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13856" y="6084502"/>
            <a:ext cx="1977105" cy="364848"/>
          </a:xfrm>
          <a:prstGeom prst="rect">
            <a:avLst/>
          </a:prstGeom>
        </p:spPr>
        <p:txBody>
          <a:bodyPr/>
          <a:lstStyle/>
          <a:p>
            <a:fld id="{2A59C464-FBD6-934C-89B5-88459D529659}" type="slidenum">
              <a:rPr lang="ru-RU" smtClean="0"/>
              <a:t>‹#›</a:t>
            </a:fld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C1F885-0467-F547-A272-5D3141BF1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3857" y="2302700"/>
            <a:ext cx="11332719" cy="36456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154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0ABBED5-C7CF-5D43-942C-E67F825E0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/>
          </a:p>
        </p:txBody>
      </p:sp>
    </p:spTree>
    <p:extLst>
      <p:ext uri="{BB962C8B-B14F-4D97-AF65-F5344CB8AC3E}">
        <p14:creationId xmlns:p14="http://schemas.microsoft.com/office/powerpoint/2010/main" val="1767214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64" name="Title Text"/>
          <p:cNvSpPr txBox="1">
            <a:spLocks noGrp="1"/>
          </p:cNvSpPr>
          <p:nvPr>
            <p:ph type="title"/>
          </p:nvPr>
        </p:nvSpPr>
        <p:spPr>
          <a:xfrm>
            <a:off x="4258871" y="0"/>
            <a:ext cx="7501971" cy="172509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65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428121" y="2302699"/>
            <a:ext cx="3634882" cy="3645684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66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258871" y="2302699"/>
            <a:ext cx="7501970" cy="3645684"/>
          </a:xfrm>
          <a:prstGeom prst="rect">
            <a:avLst/>
          </a:prstGeom>
          <a:solidFill>
            <a:srgbClr val="FFFFFF"/>
          </a:solidFill>
        </p:spPr>
        <p:txBody>
          <a:bodyPr numCol="2" spcCol="35999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13855" y="6084501"/>
            <a:ext cx="335867" cy="333089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380081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pic>
        <p:nvPicPr>
          <p:cNvPr id="10" name="Рисунок 3" descr="Рисунок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55509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Номер слайда 2">
            <a:extLst>
              <a:ext uri="{FF2B5EF4-FFF2-40B4-BE49-F238E27FC236}">
                <a16:creationId xmlns:a16="http://schemas.microsoft.com/office/drawing/2014/main" id="{E9295DCF-C48D-FE4C-94DD-25AB0147F7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833731" y="6356940"/>
            <a:ext cx="932747" cy="365125"/>
          </a:xfrm>
          <a:prstGeom prst="rect">
            <a:avLst/>
          </a:prstGeom>
        </p:spPr>
        <p:txBody>
          <a:bodyPr/>
          <a:lstStyle/>
          <a:p>
            <a:fld id="{51036E43-BD2F-D44D-850A-5FFB25242708}" type="slidenum">
              <a:rPr lang="ru-RU" b="0" smtClean="0">
                <a:solidFill>
                  <a:schemeClr val="tx1"/>
                </a:solidFill>
              </a:rPr>
              <a:pPr/>
              <a:t>‹#›</a:t>
            </a:fld>
            <a:endParaRPr lang="ru-RU" b="0" dirty="0">
              <a:solidFill>
                <a:schemeClr val="tx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606" y="6160595"/>
            <a:ext cx="1781607" cy="50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0137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95075" y="373962"/>
            <a:ext cx="6864976" cy="9027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Впишите ключевую мысль, вывод, отражающий суть слайда, не более 2 строк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B0798D-9CEF-4132-AF3D-B9031E32B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103" y="164173"/>
            <a:ext cx="3090333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4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название раздел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73808" y="6406724"/>
            <a:ext cx="425116" cy="3385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6393439"/>
            <a:ext cx="7599201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067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источники, примечания и комментарии</a:t>
            </a:r>
          </a:p>
        </p:txBody>
      </p:sp>
    </p:spTree>
    <p:extLst>
      <p:ext uri="{BB962C8B-B14F-4D97-AF65-F5344CB8AC3E}">
        <p14:creationId xmlns:p14="http://schemas.microsoft.com/office/powerpoint/2010/main" val="3935104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7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258871" y="2302699"/>
            <a:ext cx="3634881" cy="3645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Title Text"/>
          <p:cNvSpPr txBox="1">
            <a:spLocks noGrp="1"/>
          </p:cNvSpPr>
          <p:nvPr>
            <p:ph type="title"/>
          </p:nvPr>
        </p:nvSpPr>
        <p:spPr>
          <a:xfrm>
            <a:off x="4258871" y="0"/>
            <a:ext cx="7501971" cy="172509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77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428121" y="2302699"/>
            <a:ext cx="3634882" cy="3645684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13855" y="6084501"/>
            <a:ext cx="335867" cy="333089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991838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8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258871" y="2302699"/>
            <a:ext cx="3634881" cy="3645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7" name="Title Text"/>
          <p:cNvSpPr txBox="1">
            <a:spLocks noGrp="1"/>
          </p:cNvSpPr>
          <p:nvPr>
            <p:ph type="title"/>
          </p:nvPr>
        </p:nvSpPr>
        <p:spPr>
          <a:xfrm>
            <a:off x="4258871" y="0"/>
            <a:ext cx="7501971" cy="172509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8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13855" y="6084501"/>
            <a:ext cx="335867" cy="333089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2039804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9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125959" y="2302699"/>
            <a:ext cx="3634881" cy="3645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7" name="Title Text"/>
          <p:cNvSpPr txBox="1">
            <a:spLocks noGrp="1"/>
          </p:cNvSpPr>
          <p:nvPr>
            <p:ph type="title"/>
          </p:nvPr>
        </p:nvSpPr>
        <p:spPr>
          <a:xfrm>
            <a:off x="4258871" y="0"/>
            <a:ext cx="7501971" cy="172509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98" name="Picture Placeholder 9"/>
          <p:cNvSpPr>
            <a:spLocks noGrp="1"/>
          </p:cNvSpPr>
          <p:nvPr>
            <p:ph type="pic" sz="half" idx="21"/>
          </p:nvPr>
        </p:nvSpPr>
        <p:spPr>
          <a:xfrm>
            <a:off x="428121" y="2302699"/>
            <a:ext cx="7465632" cy="3645684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9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13855" y="6084501"/>
            <a:ext cx="335867" cy="333089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858422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107" name="Title Text"/>
          <p:cNvSpPr txBox="1">
            <a:spLocks noGrp="1"/>
          </p:cNvSpPr>
          <p:nvPr>
            <p:ph type="title"/>
          </p:nvPr>
        </p:nvSpPr>
        <p:spPr>
          <a:xfrm>
            <a:off x="4258871" y="0"/>
            <a:ext cx="7501971" cy="172509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108" name="Body Level One…"/>
          <p:cNvSpPr txBox="1">
            <a:spLocks noGrp="1"/>
          </p:cNvSpPr>
          <p:nvPr>
            <p:ph type="body" idx="1"/>
          </p:nvPr>
        </p:nvSpPr>
        <p:spPr>
          <a:xfrm>
            <a:off x="413857" y="2302699"/>
            <a:ext cx="11332720" cy="364568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13855" y="6084501"/>
            <a:ext cx="335867" cy="333089"/>
          </a:xfrm>
          <a:prstGeom prst="rect">
            <a:avLst/>
          </a:prstGeom>
        </p:spPr>
        <p:txBody>
          <a:bodyPr anchor="t"/>
          <a:lstStyle>
            <a:lvl1pPr algn="l"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954189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Рисунок 3" descr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124" name="Body Level One…"/>
          <p:cNvSpPr txBox="1">
            <a:spLocks noGrp="1"/>
          </p:cNvSpPr>
          <p:nvPr>
            <p:ph type="body"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900"/>
            </a:lvl1pPr>
            <a:lvl2pPr>
              <a:defRPr sz="2900"/>
            </a:lvl2pPr>
            <a:lvl3pPr>
              <a:defRPr sz="2900"/>
            </a:lvl3pPr>
            <a:lvl4pPr>
              <a:defRPr sz="2900"/>
            </a:lvl4pPr>
            <a:lvl5pPr>
              <a:defRPr sz="29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5" name="Title Text"/>
          <p:cNvSpPr txBox="1">
            <a:spLocks noGrp="1"/>
          </p:cNvSpPr>
          <p:nvPr>
            <p:ph type="title"/>
          </p:nvPr>
        </p:nvSpPr>
        <p:spPr>
          <a:xfrm>
            <a:off x="3528240" y="673691"/>
            <a:ext cx="7485133" cy="94081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 i="1">
                <a:solidFill>
                  <a:srgbClr val="A07C32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Title Text</a:t>
            </a:r>
          </a:p>
        </p:txBody>
      </p:sp>
      <p:sp>
        <p:nvSpPr>
          <p:cNvPr id="12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994588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95075" y="373962"/>
            <a:ext cx="6864976" cy="9027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Впишите ключевую мысль, вывод, отражающий суть слайда, не более 2 строк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04B0798D-9CEF-4132-AF3D-B9031E32B5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103" y="164173"/>
            <a:ext cx="3090333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40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название раздела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67689" y="6393439"/>
            <a:ext cx="143123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6393439"/>
            <a:ext cx="7599201" cy="256117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defRPr sz="1067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пишите источники, примечания и комментарии</a:t>
            </a:r>
          </a:p>
        </p:txBody>
      </p:sp>
    </p:spTree>
    <p:extLst>
      <p:ext uri="{BB962C8B-B14F-4D97-AF65-F5344CB8AC3E}">
        <p14:creationId xmlns:p14="http://schemas.microsoft.com/office/powerpoint/2010/main" val="1578977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66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5086581"/>
            <a:ext cx="12192000" cy="17714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1513986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83">
          <p15:clr>
            <a:srgbClr val="FBAE40"/>
          </p15:clr>
        </p15:guide>
        <p15:guide id="2" pos="5511">
          <p15:clr>
            <a:srgbClr val="FBAE40"/>
          </p15:clr>
        </p15:guide>
        <p15:guide id="3" pos="249">
          <p15:clr>
            <a:srgbClr val="FBAE40"/>
          </p15:clr>
        </p15:guide>
        <p15:guide id="4" orient="horz" pos="3003">
          <p15:clr>
            <a:srgbClr val="FBAE40"/>
          </p15:clr>
        </p15:guide>
        <p15:guide id="5" pos="43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" descr="Рисунок 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3429" y="480371"/>
            <a:ext cx="1281660" cy="30439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0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r>
              <a:t>Title Text</a:t>
            </a:r>
          </a:p>
        </p:txBody>
      </p:sp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29253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3" r:id="rId8"/>
    <p:sldLayoutId id="2147483674" r:id="rId9"/>
  </p:sldLayoutIdLst>
  <p:transition spd="med"/>
  <p:txStyles>
    <p:titleStyle>
      <a:lvl1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1pPr>
      <a:lvl2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2pPr>
      <a:lvl3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3pPr>
      <a:lvl4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4pPr>
      <a:lvl5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5pPr>
      <a:lvl6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6pPr>
      <a:lvl7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7pPr>
      <a:lvl8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8pPr>
      <a:lvl9pPr marL="0" marR="0" indent="0" algn="l" defTabSz="554491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900" b="1" i="0" u="none" strike="noStrike" cap="none" spc="0" baseline="0">
          <a:solidFill>
            <a:schemeClr val="accent1"/>
          </a:solidFill>
          <a:uFillTx/>
          <a:latin typeface="Tahoma"/>
          <a:ea typeface="Tahoma"/>
          <a:cs typeface="Tahoma"/>
          <a:sym typeface="Tahoma"/>
        </a:defRPr>
      </a:lvl9pPr>
    </p:titleStyle>
    <p:bodyStyle>
      <a:lvl1pPr marL="0" marR="0" indent="0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1pPr>
      <a:lvl2pPr marL="0" marR="0" indent="277245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2pPr>
      <a:lvl3pPr marL="0" marR="0" indent="554491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3pPr>
      <a:lvl4pPr marL="0" marR="0" indent="831737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4pPr>
      <a:lvl5pPr marL="0" marR="0" indent="1108983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5pPr>
      <a:lvl6pPr marL="1566439" marR="0" indent="-180209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Pct val="100000"/>
        <a:buFontTx/>
        <a:buChar char="•"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6pPr>
      <a:lvl7pPr marL="1843686" marR="0" indent="-180209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Pct val="100000"/>
        <a:buFontTx/>
        <a:buChar char="•"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7pPr>
      <a:lvl8pPr marL="2120932" marR="0" indent="-180209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Pct val="100000"/>
        <a:buFontTx/>
        <a:buChar char="•"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8pPr>
      <a:lvl9pPr marL="2398178" marR="0" indent="-180209" algn="l" defTabSz="554491" rtl="0" latinLnBrk="0">
        <a:lnSpc>
          <a:spcPct val="90000"/>
        </a:lnSpc>
        <a:spcBef>
          <a:spcPts val="600"/>
        </a:spcBef>
        <a:spcAft>
          <a:spcPts val="0"/>
        </a:spcAft>
        <a:buClrTx/>
        <a:buSzPct val="100000"/>
        <a:buFontTx/>
        <a:buChar char="•"/>
        <a:tabLst/>
        <a:defRPr sz="1300" b="0" i="0" u="none" strike="noStrike" cap="none" spc="0" baseline="0">
          <a:solidFill>
            <a:schemeClr val="accent1">
              <a:alpha val="70000"/>
            </a:schemeClr>
          </a:solidFill>
          <a:uFillTx/>
          <a:latin typeface="Tahoma"/>
          <a:ea typeface="Tahoma"/>
          <a:cs typeface="Tahoma"/>
          <a:sym typeface="Tahoma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429" y="480372"/>
            <a:ext cx="1281659" cy="3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32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8" r:id="rId12"/>
    <p:sldLayoutId id="2147483809" r:id="rId13"/>
  </p:sldLayoutIdLst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71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0" indent="0" algn="l" defTabSz="554492" rtl="0" eaLnBrk="1" latinLnBrk="0" hangingPunct="1">
        <a:lnSpc>
          <a:spcPct val="90000"/>
        </a:lnSpc>
        <a:spcBef>
          <a:spcPts val="606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77246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554492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831738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108984" indent="0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None/>
        <a:defRPr sz="1334" kern="1200">
          <a:solidFill>
            <a:schemeClr val="tx1">
              <a:alpha val="7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Текст 2"/>
          <p:cNvSpPr>
            <a:spLocks noGrp="1"/>
          </p:cNvSpPr>
          <p:nvPr>
            <p:ph type="body" sz="quarter" idx="10"/>
          </p:nvPr>
        </p:nvSpPr>
        <p:spPr>
          <a:xfrm>
            <a:off x="587036" y="2469428"/>
            <a:ext cx="7253944" cy="2000546"/>
          </a:xfr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400" hangingPunct="0">
              <a:lnSpc>
                <a:spcPct val="100000"/>
              </a:lnSpc>
              <a:spcBef>
                <a:spcPts val="0"/>
              </a:spcBef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Решение кейса заключительного этапа Универсиады по маркетингу 2024</a:t>
            </a:r>
          </a:p>
          <a:p>
            <a:pPr defTabSz="914400" hangingPunct="0">
              <a:lnSpc>
                <a:spcPct val="100000"/>
              </a:lnSpc>
              <a:spcBef>
                <a:spcPts val="0"/>
              </a:spcBef>
            </a:pPr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defTabSz="914400" hangingPunct="0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Фамилия, имя участника:</a:t>
            </a:r>
          </a:p>
          <a:p>
            <a:pPr defTabSz="914400" hangingPunct="0">
              <a:lnSpc>
                <a:spcPct val="100000"/>
              </a:lnSpc>
              <a:spcBef>
                <a:spcPts val="0"/>
              </a:spcBef>
            </a:pP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584D935-E4D0-4A9E-9A83-59FA3B279E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250" y="627933"/>
            <a:ext cx="2405548" cy="569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4535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90C43B-E69E-4819-8BD6-5C4FAF5CB960}"/>
              </a:ext>
            </a:extLst>
          </p:cNvPr>
          <p:cNvSpPr txBox="1"/>
          <p:nvPr/>
        </p:nvSpPr>
        <p:spPr>
          <a:xfrm>
            <a:off x="220171" y="257544"/>
            <a:ext cx="100718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.1: 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Определите и распишите сегменты пользователей подписки «</a:t>
            </a:r>
            <a:r>
              <a:rPr lang="ru-RU" sz="2400" b="1" dirty="0" err="1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нго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люс», аргументируя свое разделение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FF1DAA-467F-42FD-A119-8A8DF4A1BA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5463" y="257544"/>
            <a:ext cx="1466366" cy="3482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349C3B0-DBBA-6866-3A94-3D6BFCFA3039}"/>
              </a:ext>
            </a:extLst>
          </p:cNvPr>
          <p:cNvSpPr txBox="1"/>
          <p:nvPr/>
        </p:nvSpPr>
        <p:spPr>
          <a:xfrm>
            <a:off x="0" y="6488670"/>
            <a:ext cx="1219200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айд 2 из 7 </a:t>
            </a:r>
            <a:r>
              <a:rPr kumimoji="0" lang="el-GR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|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жалуйста, не добавляйте дополнительные слайды в </a:t>
            </a:r>
            <a:r>
              <a:rPr lang="ru-RU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мплейт</a:t>
            </a: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11136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90C43B-E69E-4819-8BD6-5C4FAF5CB960}"/>
              </a:ext>
            </a:extLst>
          </p:cNvPr>
          <p:cNvSpPr txBox="1"/>
          <p:nvPr/>
        </p:nvSpPr>
        <p:spPr>
          <a:xfrm>
            <a:off x="220171" y="257544"/>
            <a:ext cx="100718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.1: 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Определите и распишите сегменты пользователей подписки «</a:t>
            </a:r>
            <a:r>
              <a:rPr lang="ru-RU" sz="2400" b="1" dirty="0" err="1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нго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люс», аргументируя свое разделение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FF1DAA-467F-42FD-A119-8A8DF4A1BA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5463" y="257544"/>
            <a:ext cx="1466366" cy="3482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A3899E-8FA8-C88A-D360-5C0A1F45F393}"/>
              </a:ext>
            </a:extLst>
          </p:cNvPr>
          <p:cNvSpPr txBox="1"/>
          <p:nvPr/>
        </p:nvSpPr>
        <p:spPr>
          <a:xfrm>
            <a:off x="0" y="6488670"/>
            <a:ext cx="1219200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айд 3 из 7 </a:t>
            </a:r>
            <a:r>
              <a:rPr kumimoji="0" lang="el-GR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|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жалуйста, не добавляйте дополнительные слайды в </a:t>
            </a:r>
            <a:r>
              <a:rPr lang="ru-RU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мплейт</a:t>
            </a: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08643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90C43B-E69E-4819-8BD6-5C4FAF5CB960}"/>
              </a:ext>
            </a:extLst>
          </p:cNvPr>
          <p:cNvSpPr txBox="1"/>
          <p:nvPr/>
        </p:nvSpPr>
        <p:spPr>
          <a:xfrm>
            <a:off x="220171" y="257544"/>
            <a:ext cx="100718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.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</a:t>
            </a: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: 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Выберете один из сегментов и опишите подробнее целевую аудиторию, представив ее в виде персоны</a:t>
            </a:r>
          </a:p>
          <a:p>
            <a:pPr lvl="0" hangingPunct="0">
              <a:defRPr/>
            </a:pPr>
            <a:endParaRPr lang="ru-RU" sz="2400" b="1" dirty="0">
              <a:solidFill>
                <a:srgbClr val="0947BA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FF1DAA-467F-42FD-A119-8A8DF4A1BA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5463" y="257544"/>
            <a:ext cx="1466366" cy="3482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3C25B41-D7C7-EF03-A5E4-E3E7689B4456}"/>
              </a:ext>
            </a:extLst>
          </p:cNvPr>
          <p:cNvSpPr txBox="1"/>
          <p:nvPr/>
        </p:nvSpPr>
        <p:spPr>
          <a:xfrm>
            <a:off x="0" y="6488670"/>
            <a:ext cx="1219200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айд 4 из 7 </a:t>
            </a:r>
            <a:r>
              <a:rPr kumimoji="0" lang="el-GR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|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жалуйста, не добавляйте дополнительные слайды в </a:t>
            </a:r>
            <a:r>
              <a:rPr lang="ru-RU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мплейт</a:t>
            </a: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61307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90C43B-E69E-4819-8BD6-5C4FAF5CB960}"/>
              </a:ext>
            </a:extLst>
          </p:cNvPr>
          <p:cNvSpPr txBox="1"/>
          <p:nvPr/>
        </p:nvSpPr>
        <p:spPr>
          <a:xfrm>
            <a:off x="220171" y="257544"/>
            <a:ext cx="100718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.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</a:t>
            </a: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: 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роведите сравнительный конкурентный анализ в виде карты позиционирования</a:t>
            </a:r>
          </a:p>
          <a:p>
            <a:pPr lvl="0" hangingPunct="0">
              <a:defRPr/>
            </a:pPr>
            <a:endParaRPr lang="ru-RU" sz="2400" b="1" dirty="0">
              <a:solidFill>
                <a:srgbClr val="0947BA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FF1DAA-467F-42FD-A119-8A8DF4A1BA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5463" y="257544"/>
            <a:ext cx="1466366" cy="348262"/>
          </a:xfrm>
          <a:prstGeom prst="rect">
            <a:avLst/>
          </a:prstGeom>
        </p:spPr>
      </p:pic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60A32E7F-EA33-4366-BBE3-BFC6BDB3E425}"/>
              </a:ext>
            </a:extLst>
          </p:cNvPr>
          <p:cNvCxnSpPr>
            <a:cxnSpLocks/>
          </p:cNvCxnSpPr>
          <p:nvPr/>
        </p:nvCxnSpPr>
        <p:spPr>
          <a:xfrm flipV="1">
            <a:off x="5775649" y="1184988"/>
            <a:ext cx="0" cy="5467739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3AF22FD-292F-4451-B22E-09F9B7025273}"/>
              </a:ext>
            </a:extLst>
          </p:cNvPr>
          <p:cNvCxnSpPr/>
          <p:nvPr/>
        </p:nvCxnSpPr>
        <p:spPr>
          <a:xfrm>
            <a:off x="1912776" y="3722914"/>
            <a:ext cx="8379293" cy="83976"/>
          </a:xfrm>
          <a:prstGeom prst="straightConnector1">
            <a:avLst/>
          </a:prstGeom>
          <a:noFill/>
          <a:ln w="57150" cap="flat">
            <a:solidFill>
              <a:schemeClr val="accent1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FA3E008-AD01-7241-F340-B6D1136E810F}"/>
              </a:ext>
            </a:extLst>
          </p:cNvPr>
          <p:cNvSpPr txBox="1"/>
          <p:nvPr/>
        </p:nvSpPr>
        <p:spPr>
          <a:xfrm>
            <a:off x="0" y="6488670"/>
            <a:ext cx="1219200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айд 5 из 7 </a:t>
            </a:r>
            <a:r>
              <a:rPr kumimoji="0" lang="el-GR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|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жалуйста, не добавляйте дополнительные слайды в </a:t>
            </a:r>
            <a:r>
              <a:rPr lang="ru-RU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мплейт</a:t>
            </a: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00832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90C43B-E69E-4819-8BD6-5C4FAF5CB960}"/>
              </a:ext>
            </a:extLst>
          </p:cNvPr>
          <p:cNvSpPr txBox="1"/>
          <p:nvPr/>
        </p:nvSpPr>
        <p:spPr>
          <a:xfrm>
            <a:off x="220171" y="257544"/>
            <a:ext cx="100718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.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</a:t>
            </a: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: 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роведите сравнительный конкурентный анализ в виде карты позиционирования</a:t>
            </a:r>
          </a:p>
          <a:p>
            <a:pPr lvl="0" hangingPunct="0">
              <a:defRPr/>
            </a:pPr>
            <a:endParaRPr lang="ru-RU" sz="2400" b="1" dirty="0">
              <a:solidFill>
                <a:srgbClr val="0947BA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FF1DAA-467F-42FD-A119-8A8DF4A1BA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5463" y="257544"/>
            <a:ext cx="1466366" cy="3482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B63154-3594-CCEC-0179-1DDBE6868115}"/>
              </a:ext>
            </a:extLst>
          </p:cNvPr>
          <p:cNvSpPr txBox="1"/>
          <p:nvPr/>
        </p:nvSpPr>
        <p:spPr>
          <a:xfrm>
            <a:off x="0" y="6488670"/>
            <a:ext cx="1219200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айд 6 из 7 </a:t>
            </a:r>
            <a:r>
              <a:rPr kumimoji="0" lang="el-GR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|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жалуйста, не добавляйте дополнительные слайды в </a:t>
            </a:r>
            <a:r>
              <a:rPr lang="ru-RU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мплейт</a:t>
            </a: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2707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690C43B-E69E-4819-8BD6-5C4FAF5CB960}"/>
              </a:ext>
            </a:extLst>
          </p:cNvPr>
          <p:cNvSpPr txBox="1"/>
          <p:nvPr/>
        </p:nvSpPr>
        <p:spPr>
          <a:xfrm>
            <a:off x="220171" y="257544"/>
            <a:ext cx="100718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hangingPunct="0">
              <a:defRPr/>
            </a:pP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.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</a:t>
            </a:r>
            <a:r>
              <a:rPr lang="en-US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: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о матрице Э. </a:t>
            </a:r>
            <a:r>
              <a:rPr lang="ru-RU" sz="2400" b="1" dirty="0" err="1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аубера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редложите 3 варианта дополнения текущей подписки «</a:t>
            </a:r>
            <a:r>
              <a:rPr lang="ru-RU" sz="2400" b="1" dirty="0" err="1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нго</a:t>
            </a:r>
            <a:r>
              <a:rPr lang="ru-RU" sz="2400" b="1" dirty="0">
                <a:solidFill>
                  <a:srgbClr val="0947BA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Плюс»</a:t>
            </a:r>
          </a:p>
          <a:p>
            <a:pPr lvl="0" hangingPunct="0">
              <a:defRPr/>
            </a:pPr>
            <a:endParaRPr lang="ru-RU" sz="2400" b="1" dirty="0">
              <a:solidFill>
                <a:srgbClr val="0947BA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0FF1DAA-467F-42FD-A119-8A8DF4A1BA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5463" y="257544"/>
            <a:ext cx="1466366" cy="348262"/>
          </a:xfrm>
          <a:prstGeom prst="rect">
            <a:avLst/>
          </a:prstGeom>
        </p:spPr>
      </p:pic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534109A3-874B-4210-A163-9E225D724B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485156"/>
              </p:ext>
            </p:extLst>
          </p:nvPr>
        </p:nvGraphicFramePr>
        <p:xfrm>
          <a:off x="2164069" y="2183716"/>
          <a:ext cx="8128000" cy="39928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003382571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083419187"/>
                    </a:ext>
                  </a:extLst>
                </a:gridCol>
              </a:tblGrid>
              <a:tr h="199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86093"/>
                  </a:ext>
                </a:extLst>
              </a:tr>
              <a:tr h="19964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510359"/>
                  </a:ext>
                </a:extLst>
              </a:tr>
            </a:tbl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6527CE1-5E57-4A1B-8910-44231FF0CC8E}"/>
              </a:ext>
            </a:extLst>
          </p:cNvPr>
          <p:cNvSpPr/>
          <p:nvPr/>
        </p:nvSpPr>
        <p:spPr>
          <a:xfrm>
            <a:off x="5482049" y="1319340"/>
            <a:ext cx="23457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00FF"/>
                </a:solidFill>
                <a:latin typeface="Arial" panose="020B0604020202020204" pitchFamily="34" charset="0"/>
                <a:ea typeface="IngoStem" panose="020B0503020203020204" pitchFamily="34" charset="-52"/>
                <a:cs typeface="Arial" panose="020B0604020202020204" pitchFamily="34" charset="0"/>
              </a:rPr>
              <a:t>БРЕНД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5CF6703-7DB1-4A27-B9CA-B2E4F3A4EBFA}"/>
              </a:ext>
            </a:extLst>
          </p:cNvPr>
          <p:cNvSpPr/>
          <p:nvPr/>
        </p:nvSpPr>
        <p:spPr>
          <a:xfrm>
            <a:off x="3017776" y="1714347"/>
            <a:ext cx="23457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FF"/>
                </a:solidFill>
                <a:latin typeface="Arial" panose="020B0604020202020204" pitchFamily="34" charset="0"/>
                <a:ea typeface="IngoStem" panose="020B0503020203020204" pitchFamily="34" charset="-52"/>
                <a:cs typeface="Arial" panose="020B0604020202020204" pitchFamily="34" charset="0"/>
              </a:rPr>
              <a:t>Существующие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62CB3E5-DB56-46CB-AF3D-2487499C65E4}"/>
              </a:ext>
            </a:extLst>
          </p:cNvPr>
          <p:cNvSpPr/>
          <p:nvPr/>
        </p:nvSpPr>
        <p:spPr>
          <a:xfrm>
            <a:off x="7247490" y="1711525"/>
            <a:ext cx="23457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FF"/>
                </a:solidFill>
                <a:latin typeface="Arial" panose="020B0604020202020204" pitchFamily="34" charset="0"/>
                <a:ea typeface="IngoStem" panose="020B0503020203020204" pitchFamily="34" charset="-52"/>
                <a:cs typeface="Arial" panose="020B0604020202020204" pitchFamily="34" charset="0"/>
              </a:rPr>
              <a:t>Новые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BA67856-FF44-49A2-AD76-B2B333AFD8FF}"/>
              </a:ext>
            </a:extLst>
          </p:cNvPr>
          <p:cNvSpPr/>
          <p:nvPr/>
        </p:nvSpPr>
        <p:spPr>
          <a:xfrm rot="16200000">
            <a:off x="-309148" y="3820340"/>
            <a:ext cx="23457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00FF"/>
                </a:solidFill>
                <a:latin typeface="Arial" panose="020B0604020202020204" pitchFamily="34" charset="0"/>
                <a:ea typeface="IngoStem" panose="020B0503020203020204" pitchFamily="34" charset="-52"/>
                <a:cs typeface="Arial" panose="020B0604020202020204" pitchFamily="34" charset="0"/>
              </a:rPr>
              <a:t>КАТЕГОРИИ ПРОДУКТОВ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02EE0D9-BE26-4A7B-9C2A-94EF01B0BAB5}"/>
              </a:ext>
            </a:extLst>
          </p:cNvPr>
          <p:cNvSpPr/>
          <p:nvPr/>
        </p:nvSpPr>
        <p:spPr>
          <a:xfrm rot="16200000">
            <a:off x="657780" y="2959621"/>
            <a:ext cx="23457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FF"/>
                </a:solidFill>
                <a:latin typeface="Arial" panose="020B0604020202020204" pitchFamily="34" charset="0"/>
                <a:ea typeface="IngoStem" panose="020B0503020203020204" pitchFamily="34" charset="-52"/>
                <a:cs typeface="Arial" panose="020B0604020202020204" pitchFamily="34" charset="0"/>
              </a:rPr>
              <a:t>Существующие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1903D37-8126-4D0D-BE70-B26F4AA1FCF8}"/>
              </a:ext>
            </a:extLst>
          </p:cNvPr>
          <p:cNvSpPr/>
          <p:nvPr/>
        </p:nvSpPr>
        <p:spPr>
          <a:xfrm rot="16200000">
            <a:off x="657781" y="5162491"/>
            <a:ext cx="23457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FF"/>
                </a:solidFill>
                <a:latin typeface="Arial" panose="020B0604020202020204" pitchFamily="34" charset="0"/>
                <a:ea typeface="IngoStem" panose="020B0503020203020204" pitchFamily="34" charset="-52"/>
                <a:cs typeface="Arial" panose="020B0604020202020204" pitchFamily="34" charset="0"/>
              </a:rPr>
              <a:t>Новые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55722B-F527-E0E1-CA1D-03A646142F2D}"/>
              </a:ext>
            </a:extLst>
          </p:cNvPr>
          <p:cNvSpPr txBox="1"/>
          <p:nvPr/>
        </p:nvSpPr>
        <p:spPr>
          <a:xfrm>
            <a:off x="0" y="6488670"/>
            <a:ext cx="1219200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лайд 7 из 7 </a:t>
            </a:r>
            <a:r>
              <a:rPr kumimoji="0" lang="el-GR" sz="1200" b="0" i="0" u="none" strike="noStrike" cap="none" spc="0" normalizeH="0" baseline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| </a:t>
            </a: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Пожалуйста, не добавляйте дополнительные слайды в </a:t>
            </a:r>
            <a:r>
              <a:rPr lang="ru-RU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мплейт</a:t>
            </a:r>
            <a:endParaRPr kumimoji="0" lang="en-US" sz="1200" b="0" i="0" u="none" strike="noStrike" cap="none" spc="0" normalizeH="0" baseline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0069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tyEgvpCNyybCOj0x8jvQ"/>
</p:tagLst>
</file>

<file path=ppt/theme/theme1.xml><?xml version="1.0" encoding="utf-8"?>
<a:theme xmlns:a="http://schemas.openxmlformats.org/drawingml/2006/main" name="Custom Design">
  <a:themeElements>
    <a:clrScheme name="Custom Design">
      <a:dk1>
        <a:srgbClr val="FFFFFF"/>
      </a:dk1>
      <a:lt1>
        <a:srgbClr val="0947BA"/>
      </a:lt1>
      <a:dk2>
        <a:srgbClr val="A7A7A7"/>
      </a:dk2>
      <a:lt2>
        <a:srgbClr val="535353"/>
      </a:lt2>
      <a:accent1>
        <a:srgbClr val="0947BA"/>
      </a:accent1>
      <a:accent2>
        <a:srgbClr val="EF803B"/>
      </a:accent2>
      <a:accent3>
        <a:srgbClr val="9AC345"/>
      </a:accent3>
      <a:accent4>
        <a:srgbClr val="FBBE2B"/>
      </a:accent4>
      <a:accent5>
        <a:srgbClr val="85529C"/>
      </a:accent5>
      <a:accent6>
        <a:srgbClr val="E52545"/>
      </a:accent6>
      <a:hlink>
        <a:srgbClr val="0000FF"/>
      </a:hlink>
      <a:folHlink>
        <a:srgbClr val="FF00FF"/>
      </a:folHlink>
    </a:clrScheme>
    <a:fontScheme name="Custom Design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Custom Design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1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1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0_Custom Design">
  <a:themeElements>
    <a:clrScheme name="Custom 5">
      <a:dk1>
        <a:srgbClr val="0947BA"/>
      </a:dk1>
      <a:lt1>
        <a:srgbClr val="FFFFFF"/>
      </a:lt1>
      <a:dk2>
        <a:srgbClr val="000000"/>
      </a:dk2>
      <a:lt2>
        <a:srgbClr val="E7E6E6"/>
      </a:lt2>
      <a:accent1>
        <a:srgbClr val="0947BA"/>
      </a:accent1>
      <a:accent2>
        <a:srgbClr val="EF803B"/>
      </a:accent2>
      <a:accent3>
        <a:srgbClr val="9AC345"/>
      </a:accent3>
      <a:accent4>
        <a:srgbClr val="FBBE2B"/>
      </a:accent4>
      <a:accent5>
        <a:srgbClr val="85529C"/>
      </a:accent5>
      <a:accent6>
        <a:srgbClr val="E52545"/>
      </a:accent6>
      <a:hlink>
        <a:srgbClr val="0947BA"/>
      </a:hlink>
      <a:folHlink>
        <a:srgbClr val="0947BA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45</TotalTime>
  <Words>196</Words>
  <Application>Microsoft Office PowerPoint</Application>
  <PresentationFormat>Widescreen</PresentationFormat>
  <Paragraphs>21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ptos</vt:lpstr>
      <vt:lpstr>Arial</vt:lpstr>
      <vt:lpstr>Calibri</vt:lpstr>
      <vt:lpstr>Tahoma</vt:lpstr>
      <vt:lpstr>Times New Roman</vt:lpstr>
      <vt:lpstr>Custom Design</vt:lpstr>
      <vt:lpstr>10_Custom Design</vt:lpstr>
      <vt:lpstr>Слайд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ищенко Анна Андреевна (ДМК)</dc:creator>
  <cp:lastModifiedBy>Pakhalov Alexander</cp:lastModifiedBy>
  <cp:revision>226</cp:revision>
  <dcterms:created xsi:type="dcterms:W3CDTF">2022-10-10T09:51:23Z</dcterms:created>
  <dcterms:modified xsi:type="dcterms:W3CDTF">2024-04-19T19:3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2f0b804-62e0-47d9-bc61-31b566d2ec1e_Enabled">
    <vt:lpwstr>true</vt:lpwstr>
  </property>
  <property fmtid="{D5CDD505-2E9C-101B-9397-08002B2CF9AE}" pid="3" name="MSIP_Label_22f0b804-62e0-47d9-bc61-31b566d2ec1e_SetDate">
    <vt:lpwstr>2022-10-10T09:52:51Z</vt:lpwstr>
  </property>
  <property fmtid="{D5CDD505-2E9C-101B-9397-08002B2CF9AE}" pid="4" name="MSIP_Label_22f0b804-62e0-47d9-bc61-31b566d2ec1e_Method">
    <vt:lpwstr>Privileged</vt:lpwstr>
  </property>
  <property fmtid="{D5CDD505-2E9C-101B-9397-08002B2CF9AE}" pid="5" name="MSIP_Label_22f0b804-62e0-47d9-bc61-31b566d2ec1e_Name">
    <vt:lpwstr>22f0b804-62e0-47d9-bc61-31b566d2ec1e</vt:lpwstr>
  </property>
  <property fmtid="{D5CDD505-2E9C-101B-9397-08002B2CF9AE}" pid="6" name="MSIP_Label_22f0b804-62e0-47d9-bc61-31b566d2ec1e_SiteId">
    <vt:lpwstr>818b099f-45a1-4ad0-a663-221661b546d1</vt:lpwstr>
  </property>
  <property fmtid="{D5CDD505-2E9C-101B-9397-08002B2CF9AE}" pid="7" name="MSIP_Label_22f0b804-62e0-47d9-bc61-31b566d2ec1e_ActionId">
    <vt:lpwstr>2ca45c6b-05b9-423b-854d-faa27d53a8b6</vt:lpwstr>
  </property>
  <property fmtid="{D5CDD505-2E9C-101B-9397-08002B2CF9AE}" pid="8" name="MSIP_Label_22f0b804-62e0-47d9-bc61-31b566d2ec1e_ContentBits">
    <vt:lpwstr>0</vt:lpwstr>
  </property>
</Properties>
</file>